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7" r:id="rId2"/>
    <p:sldId id="1072" r:id="rId3"/>
    <p:sldId id="1073" r:id="rId4"/>
    <p:sldId id="1074" r:id="rId5"/>
    <p:sldId id="1075" r:id="rId6"/>
    <p:sldId id="1076" r:id="rId7"/>
    <p:sldId id="1077" r:id="rId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BAB70A-7304-44C1-AD32-FC4FC071524B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086359-464E-403D-BCB0-DA829CB742C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1178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Tx/>
              <a:buNone/>
            </a:pPr>
            <a:r>
              <a:rPr kumimoji="1" lang="en-US" altLang="ko-KR" sz="1200" b="1" dirty="0">
                <a:solidFill>
                  <a:srgbClr val="000000"/>
                </a:solidFill>
                <a:latin typeface="현대하모니 B" panose="02020603020101020101" pitchFamily="18" charset="-127"/>
                <a:ea typeface="현대하모니 B" panose="02020603020101020101" pitchFamily="18" charset="-127"/>
              </a:rPr>
              <a:t>Hello, we are team (). And I’d like to present about our this week’s progress of final project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884D1-072C-4EDD-BA0E-7969FF708DF3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28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="1" dirty="0"/>
              <a:t>First, the shape of the model that has a problem in actual operation is as follows. You can see that the motor case is connected with the main frame with two point contacts.</a:t>
            </a:r>
          </a:p>
          <a:p>
            <a:endParaRPr lang="en-US" altLang="ko-KR" b="1" dirty="0"/>
          </a:p>
          <a:p>
            <a:r>
              <a:rPr lang="en-US" altLang="ko-KR" b="1" dirty="0"/>
              <a:t>And the calculated tension that we have to consider is about 700 N. And generally, considering some coefficients, the maximum tension we got is about 5 </a:t>
            </a:r>
            <a:r>
              <a:rPr lang="en-US" altLang="ko-KR" b="1" dirty="0" err="1"/>
              <a:t>kN.</a:t>
            </a:r>
            <a:r>
              <a:rPr lang="en-US" altLang="ko-KR" b="1" dirty="0"/>
              <a:t> </a:t>
            </a:r>
          </a:p>
          <a:p>
            <a:endParaRPr lang="en-US" altLang="ko-KR" b="1" dirty="0"/>
          </a:p>
          <a:p>
            <a:r>
              <a:rPr lang="en-US" altLang="ko-KR" b="1" dirty="0"/>
              <a:t>And the main problem of this structure was chain loosening and um,, some cases that seem to be a material yield in some frames of the rear part.</a:t>
            </a:r>
          </a:p>
          <a:p>
            <a:endParaRPr lang="en-US" altLang="ko-KR" b="1" dirty="0"/>
          </a:p>
          <a:p>
            <a:r>
              <a:rPr lang="en-US" altLang="ko-KR" b="1" dirty="0"/>
              <a:t>So we planned to make some developments to solve those problems by getting proper analysis of this model.</a:t>
            </a:r>
          </a:p>
          <a:p>
            <a:endParaRPr lang="en-US" altLang="ko-KR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8FFCC6-624D-4475-93F6-6C79F08C5C19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6630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0C58509-528F-5BC2-B7CC-5141BB7CED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0136C556-DABD-E5A3-492C-84AE464C88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9FE144-6729-27D9-6F2E-53D0994D2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2D65650-1F86-8DE9-1BB7-F5F5411E7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A55C669-4C8D-E6C4-B7C7-52C2C42BF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2038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7BAAF8D-965B-78D5-11DA-0A52EF3AF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4395A4C-7A58-F9B5-331B-EE41DC4C55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A84103E-AEEC-B639-DBEF-B966462D2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5B4D617-3AD1-ABAA-BE18-45D7235FC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71FBA34-517D-3CD0-C73E-F5C7A8F21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07968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D4CE41EE-5877-CBDB-F168-509B1C40C5F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0E59F7F-1FD1-279D-C61F-FD961BE95C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7E46A0B-AA99-42A6-91E3-D7BC1723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0C46BCA-BE2B-BCF1-46E1-951FFB14F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FACEB71-B445-5402-DBA5-1693482E2E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773633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52"/>
          <p:cNvSpPr>
            <a:spLocks noChangeShapeType="1"/>
          </p:cNvSpPr>
          <p:nvPr userDrawn="1"/>
        </p:nvSpPr>
        <p:spPr bwMode="auto">
          <a:xfrm>
            <a:off x="1545740" y="2571750"/>
            <a:ext cx="9082932" cy="0"/>
          </a:xfrm>
          <a:prstGeom prst="line">
            <a:avLst/>
          </a:prstGeom>
          <a:noFill/>
          <a:ln w="76200" cmpd="thinThick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3" name="Line 53"/>
          <p:cNvSpPr>
            <a:spLocks noChangeShapeType="1"/>
          </p:cNvSpPr>
          <p:nvPr userDrawn="1"/>
        </p:nvSpPr>
        <p:spPr bwMode="auto">
          <a:xfrm>
            <a:off x="1545740" y="1205317"/>
            <a:ext cx="9082932" cy="0"/>
          </a:xfrm>
          <a:prstGeom prst="line">
            <a:avLst/>
          </a:prstGeom>
          <a:noFill/>
          <a:ln w="101600" cmpd="thickThin">
            <a:solidFill>
              <a:srgbClr val="333399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847B781-9339-495F-BEA2-83C6617D7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058" y="6059360"/>
            <a:ext cx="982942" cy="79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4770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222859" y="764704"/>
            <a:ext cx="11799279" cy="0"/>
          </a:xfrm>
          <a:prstGeom prst="line">
            <a:avLst/>
          </a:prstGeom>
          <a:noFill/>
          <a:ln w="28575">
            <a:solidFill>
              <a:srgbClr val="015B9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1801" dirty="0">
              <a:solidFill>
                <a:prstClr val="black"/>
              </a:solidFill>
              <a:ea typeface="현대하모니 L" panose="02020603020101020101" pitchFamily="18" charset="-127"/>
            </a:endParaRP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98521887-48D0-408B-81DB-311910E8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60" y="246981"/>
            <a:ext cx="9022913" cy="49006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1800">
                <a:latin typeface="현대하모니 M" pitchFamily="18" charset="-127"/>
                <a:ea typeface="현대하모니 M" pitchFamily="18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pic>
        <p:nvPicPr>
          <p:cNvPr id="1026" name="Picture 2" descr="한동대학교 복지회 2021년 기업정보 | 회사소개, 근무환경, 복리후생 등 기업정보 제공 - 사람인">
            <a:extLst>
              <a:ext uri="{FF2B5EF4-FFF2-40B4-BE49-F238E27FC236}">
                <a16:creationId xmlns:a16="http://schemas.microsoft.com/office/drawing/2014/main" id="{710018F4-B655-43C8-83DA-56253008A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8092" y="6493662"/>
            <a:ext cx="1273908" cy="36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3733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DA7C579-CECE-1B5F-1E6B-FA5970F1E8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70C88A3-5DE6-C0ED-A95F-F2BF264BC4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2C3A9FE-744B-D8E7-A820-8B89242FB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DAD1133-839B-A979-610B-7186CB6849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2CF66D5-C1E2-11CB-847F-F55932AA7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3438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36313D3-172B-0252-4FFD-B2B4BAAEF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18A81F4-7B52-A6BB-7DF5-583EC1690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8ABC245-2743-3363-2426-E2EEB1C84D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96BD3D-668F-29B4-231D-3D8F7760F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A7B3D8A-8268-617F-B092-FE9FDDE2C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5779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8236FCE-2E38-3529-E9F7-12E853A23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67D6F3D-AF0B-A539-873E-DC0C80D2E6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5901E8C4-1ECA-6BB3-EB8A-EC7CB26DB9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01C5098-AAD2-1D5A-7374-75BEECB84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C826C79-1AA1-7231-99FC-2F9F907C4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950C819-8211-601E-2E81-A943194B8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89597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CC40E09-49CE-8D3A-F816-2D6DB1D87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BD7431D-F4D4-FF10-3FDF-E189649E55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FDB92202-326C-517A-3C0B-D797383326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25ED9863-0991-A067-E18F-4887BE3D98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E29FF04-CEC2-00BC-3F54-EC994B7580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09DC6E28-F66C-B660-501D-AA99E60D1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6B05E2C7-B33A-B7C7-279B-552323FF0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1C624B7E-7F78-1819-3461-C98CF24A2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603200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118FA38-E4BB-EFAD-6532-66768CF1C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5417932-8FD9-E3F6-126B-2333AD739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D2FC3629-1A55-BC81-DCB1-50470EF51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7B06EC1-F98E-0394-9B0E-76C78CBF1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1963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027BD7FB-7F13-C2EE-51AB-5B431463D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C92D8ECB-C769-0019-AD88-78034E069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43ECDCD-7701-FB57-EE36-EDD737D09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245435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25CB355-F405-B941-3434-985703952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2D9E965-33D7-FABD-3166-72922AD842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3B1E586-1CD7-D402-3389-707056506C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47630BC-64A4-BC71-B885-A73F2159F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28FB109-A704-490D-EEB7-EB7DDF0B4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D994561-4227-3FE1-DF1F-43E9E90A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7008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AC9E33A-4845-3BE6-6C83-DFEC9A1CE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F08944DD-9D47-024A-9613-45749A1ED7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CA7B7D5-1AE6-C559-6197-4318635273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6A5C684-61CD-41D2-0C61-0AD7BCF7DC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FCD2654-044D-C3CF-8416-EC3DC1C600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735E0FE-D2A1-D64B-05B3-462513C3F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2037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A2F8220E-5019-8077-EEC0-FADC439FB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B893F04-3D18-E85C-A860-0708B0211C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0EA46E8-9B9D-796A-2569-8C2E571D1D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C65D96-4628-4CBB-85CA-B2F2B94A8879}" type="datetimeFigureOut">
              <a:rPr lang="ko-KR" altLang="en-US" smtClean="0"/>
              <a:t>2023-11-26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868E530-DFF8-3A05-DB0E-22BC586EF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8F6A432-9959-DEFC-8465-B4F99753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AC1268-E966-4EDB-BB2D-E9007C4DF2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59893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ext Box 50"/>
          <p:cNvSpPr txBox="1">
            <a:spLocks noChangeArrowheads="1"/>
          </p:cNvSpPr>
          <p:nvPr/>
        </p:nvSpPr>
        <p:spPr bwMode="auto">
          <a:xfrm>
            <a:off x="2024351" y="1349186"/>
            <a:ext cx="8142607" cy="981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728" tIns="47862" rIns="95728" bIns="47862">
            <a:spAutoFit/>
          </a:bodyPr>
          <a:lstStyle>
            <a:lvl1pPr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1pPr>
            <a:lvl2pPr marL="742950" indent="-28575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2pPr>
            <a:lvl3pPr marL="11430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3pPr>
            <a:lvl4pPr marL="16002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4pPr>
            <a:lvl5pPr marL="2057400" indent="-228600" defTabSz="957263" eaLnBrk="0" hangingPunct="0"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itchFamily="50" charset="-127"/>
                <a:ea typeface="굴림" pitchFamily="50" charset="-127"/>
              </a:defRPr>
            </a:lvl9pPr>
          </a:lstStyle>
          <a:p>
            <a:pPr algn="ctr" fontAlgn="base" latinLnBrk="0">
              <a:lnSpc>
                <a:spcPct val="150000"/>
              </a:lnSpc>
            </a:pPr>
            <a:r>
              <a:rPr lang="en-US" altLang="ko-KR" sz="4400" b="1" dirty="0">
                <a:solidFill>
                  <a:srgbClr val="000000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GAN based anomaly detection</a:t>
            </a:r>
            <a:endParaRPr lang="ko-KR" altLang="en-US" sz="4400" b="1" dirty="0">
              <a:solidFill>
                <a:srgbClr val="000000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477D13-D900-708C-F7D2-3991C4C4FD5A}"/>
              </a:ext>
            </a:extLst>
          </p:cNvPr>
          <p:cNvSpPr txBox="1"/>
          <p:nvPr/>
        </p:nvSpPr>
        <p:spPr>
          <a:xfrm>
            <a:off x="1550126" y="2926080"/>
            <a:ext cx="9109165" cy="521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200" b="1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KAMP: vibration and current dataset in welding  </a:t>
            </a:r>
            <a:endParaRPr lang="ko-KR" altLang="en-US" sz="2200" b="1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B14510-71FF-EF92-BB72-951820056174}"/>
              </a:ext>
            </a:extLst>
          </p:cNvPr>
          <p:cNvSpPr txBox="1"/>
          <p:nvPr/>
        </p:nvSpPr>
        <p:spPr>
          <a:xfrm>
            <a:off x="4431673" y="5354460"/>
            <a:ext cx="3327961" cy="858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2023.11.28</a:t>
            </a:r>
          </a:p>
          <a:p>
            <a:pPr algn="ctr">
              <a:lnSpc>
                <a:spcPct val="150000"/>
              </a:lnSpc>
            </a:pPr>
            <a:endParaRPr lang="en-US" altLang="ko-KR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85352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83E885F-1815-AF25-405A-949DF6DC0AD8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ject proposa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48304149-7C1D-FB09-FFC4-9315ACBC5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Welding manufacturing</a:t>
            </a:r>
          </a:p>
        </p:txBody>
      </p:sp>
      <p:cxnSp>
        <p:nvCxnSpPr>
          <p:cNvPr id="8" name="직선 연결선 7">
            <a:extLst>
              <a:ext uri="{FF2B5EF4-FFF2-40B4-BE49-F238E27FC236}">
                <a16:creationId xmlns:a16="http://schemas.microsoft.com/office/drawing/2014/main" id="{2410E279-9CAF-AA14-FFA3-AF2D368DF3DB}"/>
              </a:ext>
            </a:extLst>
          </p:cNvPr>
          <p:cNvCxnSpPr>
            <a:cxnSpLocks/>
          </p:cNvCxnSpPr>
          <p:nvPr/>
        </p:nvCxnSpPr>
        <p:spPr>
          <a:xfrm>
            <a:off x="4641468" y="1035080"/>
            <a:ext cx="0" cy="54477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DF058ED-8B55-0D19-97EC-690075A39FA4}"/>
              </a:ext>
            </a:extLst>
          </p:cNvPr>
          <p:cNvSpPr txBox="1"/>
          <p:nvPr/>
        </p:nvSpPr>
        <p:spPr>
          <a:xfrm>
            <a:off x="4892595" y="901331"/>
            <a:ext cx="7086884" cy="2520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u="sng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Project propos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Vibration and current datasets (Normal / Abnormal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odel selec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odel training based on normal dat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Set MAE threshold to detect abnormal oper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rPr>
              <a:t>Model validation</a:t>
            </a: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5F9B4E90-5921-29DF-90F0-112AA1923C29}"/>
              </a:ext>
            </a:extLst>
          </p:cNvPr>
          <p:cNvGrpSpPr/>
          <p:nvPr/>
        </p:nvGrpSpPr>
        <p:grpSpPr>
          <a:xfrm>
            <a:off x="430673" y="1506734"/>
            <a:ext cx="3654305" cy="5087114"/>
            <a:chOff x="422746" y="1489956"/>
            <a:chExt cx="3654305" cy="5087114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C88F6C49-B1DE-BAC0-4192-3EB793ECF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2746" y="1489956"/>
              <a:ext cx="3645916" cy="2452870"/>
            </a:xfrm>
            <a:prstGeom prst="rect">
              <a:avLst/>
            </a:prstGeom>
          </p:spPr>
        </p:pic>
        <p:pic>
          <p:nvPicPr>
            <p:cNvPr id="5" name="그림 4">
              <a:extLst>
                <a:ext uri="{FF2B5EF4-FFF2-40B4-BE49-F238E27FC236}">
                  <a16:creationId xmlns:a16="http://schemas.microsoft.com/office/drawing/2014/main" id="{BF82ABF7-1B1B-B164-7621-6D48914D2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1136" y="3976382"/>
              <a:ext cx="3645915" cy="26006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1378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57C7632-4099-F8BE-BF80-E200E30B334A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oject proposal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95071DDD-2D02-7BCE-09C4-141394C72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55335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ata analysis (Vibration)</a:t>
            </a:r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F3816E2D-55B7-F267-52DE-C6299E13BE59}"/>
              </a:ext>
            </a:extLst>
          </p:cNvPr>
          <p:cNvCxnSpPr>
            <a:cxnSpLocks/>
          </p:cNvCxnSpPr>
          <p:nvPr/>
        </p:nvCxnSpPr>
        <p:spPr>
          <a:xfrm>
            <a:off x="6105084" y="1035037"/>
            <a:ext cx="0" cy="54477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3EDB527F-EE86-1C3F-FBB7-F17495ED14BF}"/>
              </a:ext>
            </a:extLst>
          </p:cNvPr>
          <p:cNvGrpSpPr/>
          <p:nvPr/>
        </p:nvGrpSpPr>
        <p:grpSpPr>
          <a:xfrm>
            <a:off x="6309704" y="942802"/>
            <a:ext cx="7086884" cy="2105256"/>
            <a:chOff x="6937056" y="942802"/>
            <a:chExt cx="7086884" cy="210525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35ABF47-4D87-5B57-A98C-BB762CB6DE2A}"/>
                </a:ext>
              </a:extLst>
            </p:cNvPr>
            <p:cNvSpPr txBox="1"/>
            <p:nvPr/>
          </p:nvSpPr>
          <p:spPr>
            <a:xfrm>
              <a:off x="6937056" y="942802"/>
              <a:ext cx="7086884" cy="21052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u="sng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Dataset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         : Signal in frequency domain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First raw : frequency [Hz]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dirty="0">
                  <a:latin typeface="현대하모니 L" panose="02020603020101020101" pitchFamily="18" charset="-127"/>
                  <a:ea typeface="현대하모니 L" panose="02020603020101020101" pitchFamily="18" charset="-127"/>
                </a:rPr>
                <a:t>First column : measurement time data 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ko-KR" dirty="0">
                <a:latin typeface="현대하모니 L" panose="02020603020101020101" pitchFamily="18" charset="-127"/>
                <a:ea typeface="현대하모니 L" panose="02020603020101020101" pitchFamily="18" charset="-127"/>
              </a:endParaRPr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8DFD0C95-86A7-8FE5-C7E9-642CF92AC43B}"/>
                </a:ext>
              </a:extLst>
            </p:cNvPr>
            <p:cNvSpPr/>
            <p:nvPr/>
          </p:nvSpPr>
          <p:spPr>
            <a:xfrm>
              <a:off x="7306570" y="1524002"/>
              <a:ext cx="543466" cy="218533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ADC2C94-A510-F6FC-BB8A-539236402325}"/>
              </a:ext>
            </a:extLst>
          </p:cNvPr>
          <p:cNvGrpSpPr/>
          <p:nvPr/>
        </p:nvGrpSpPr>
        <p:grpSpPr>
          <a:xfrm>
            <a:off x="6679218" y="2829525"/>
            <a:ext cx="4628989" cy="3520964"/>
            <a:chOff x="6673658" y="2326979"/>
            <a:chExt cx="4451350" cy="4176234"/>
          </a:xfrm>
        </p:grpSpPr>
        <p:grpSp>
          <p:nvGrpSpPr>
            <p:cNvPr id="27" name="그룹 26">
              <a:extLst>
                <a:ext uri="{FF2B5EF4-FFF2-40B4-BE49-F238E27FC236}">
                  <a16:creationId xmlns:a16="http://schemas.microsoft.com/office/drawing/2014/main" id="{CCA2BED8-697C-2FE8-40D7-2D8FCBB5AFDB}"/>
                </a:ext>
              </a:extLst>
            </p:cNvPr>
            <p:cNvGrpSpPr/>
            <p:nvPr/>
          </p:nvGrpSpPr>
          <p:grpSpPr>
            <a:xfrm>
              <a:off x="6679218" y="2326979"/>
              <a:ext cx="4440230" cy="3899235"/>
              <a:chOff x="6679218" y="2258819"/>
              <a:chExt cx="4612199" cy="4269225"/>
            </a:xfrm>
          </p:grpSpPr>
          <p:pic>
            <p:nvPicPr>
              <p:cNvPr id="24" name="그림 23">
                <a:extLst>
                  <a:ext uri="{FF2B5EF4-FFF2-40B4-BE49-F238E27FC236}">
                    <a16:creationId xmlns:a16="http://schemas.microsoft.com/office/drawing/2014/main" id="{22489CE0-A51F-CDCB-C84C-71C59DD9427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b="3262"/>
              <a:stretch/>
            </p:blipFill>
            <p:spPr>
              <a:xfrm>
                <a:off x="6679218" y="2258819"/>
                <a:ext cx="4606423" cy="1900105"/>
              </a:xfrm>
              <a:prstGeom prst="rect">
                <a:avLst/>
              </a:prstGeom>
            </p:spPr>
          </p:pic>
          <p:pic>
            <p:nvPicPr>
              <p:cNvPr id="26" name="그림 25">
                <a:extLst>
                  <a:ext uri="{FF2B5EF4-FFF2-40B4-BE49-F238E27FC236}">
                    <a16:creationId xmlns:a16="http://schemas.microsoft.com/office/drawing/2014/main" id="{01743AFA-C93A-C293-B5C3-F23A2549F8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679219" y="4563884"/>
                <a:ext cx="4612198" cy="1964160"/>
              </a:xfrm>
              <a:prstGeom prst="rect">
                <a:avLst/>
              </a:prstGeom>
            </p:spPr>
          </p:pic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EB1BCEA-7543-0076-9C16-7EC1CAB31C53}"/>
                </a:ext>
              </a:extLst>
            </p:cNvPr>
            <p:cNvSpPr txBox="1"/>
            <p:nvPr/>
          </p:nvSpPr>
          <p:spPr>
            <a:xfrm>
              <a:off x="6673658" y="4062413"/>
              <a:ext cx="444022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/>
                <a:t>[Vibration normal dataset]</a:t>
              </a:r>
              <a:endParaRPr lang="ko-KR" altLang="en-US" sz="1200" b="1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DF9C3F8-1383-A634-88F6-009C185BA2F8}"/>
                </a:ext>
              </a:extLst>
            </p:cNvPr>
            <p:cNvSpPr txBox="1"/>
            <p:nvPr/>
          </p:nvSpPr>
          <p:spPr>
            <a:xfrm>
              <a:off x="6673658" y="6226215"/>
              <a:ext cx="4451350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/>
                <a:t>[Vibration abnormal dataset]</a:t>
              </a:r>
              <a:endParaRPr lang="ko-KR" altLang="en-US" sz="1200" b="1" dirty="0"/>
            </a:p>
          </p:txBody>
        </p:sp>
      </p:grpSp>
      <p:grpSp>
        <p:nvGrpSpPr>
          <p:cNvPr id="32" name="그룹 31">
            <a:extLst>
              <a:ext uri="{FF2B5EF4-FFF2-40B4-BE49-F238E27FC236}">
                <a16:creationId xmlns:a16="http://schemas.microsoft.com/office/drawing/2014/main" id="{AD90779A-1D6B-7FFA-C9E9-6441758B1515}"/>
              </a:ext>
            </a:extLst>
          </p:cNvPr>
          <p:cNvGrpSpPr/>
          <p:nvPr/>
        </p:nvGrpSpPr>
        <p:grpSpPr>
          <a:xfrm>
            <a:off x="422745" y="1574633"/>
            <a:ext cx="5477720" cy="4411706"/>
            <a:chOff x="422745" y="1574633"/>
            <a:chExt cx="5477720" cy="4411706"/>
          </a:xfrm>
        </p:grpSpPr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747089E8-4030-9967-3634-B72368A1AFAB}"/>
                </a:ext>
              </a:extLst>
            </p:cNvPr>
            <p:cNvGrpSpPr/>
            <p:nvPr/>
          </p:nvGrpSpPr>
          <p:grpSpPr>
            <a:xfrm>
              <a:off x="422745" y="1574633"/>
              <a:ext cx="5477720" cy="4411706"/>
              <a:chOff x="422745" y="1574633"/>
              <a:chExt cx="6134524" cy="5139349"/>
            </a:xfrm>
          </p:grpSpPr>
          <p:grpSp>
            <p:nvGrpSpPr>
              <p:cNvPr id="14" name="그룹 13">
                <a:extLst>
                  <a:ext uri="{FF2B5EF4-FFF2-40B4-BE49-F238E27FC236}">
                    <a16:creationId xmlns:a16="http://schemas.microsoft.com/office/drawing/2014/main" id="{D3EFC332-8901-C553-2068-B7FE7CDB29B7}"/>
                  </a:ext>
                </a:extLst>
              </p:cNvPr>
              <p:cNvGrpSpPr/>
              <p:nvPr/>
            </p:nvGrpSpPr>
            <p:grpSpPr>
              <a:xfrm>
                <a:off x="422745" y="1574633"/>
                <a:ext cx="6134524" cy="5139349"/>
                <a:chOff x="422745" y="1574633"/>
                <a:chExt cx="6134524" cy="5139349"/>
              </a:xfrm>
            </p:grpSpPr>
            <p:pic>
              <p:nvPicPr>
                <p:cNvPr id="8" name="그림 7">
                  <a:extLst>
                    <a:ext uri="{FF2B5EF4-FFF2-40B4-BE49-F238E27FC236}">
                      <a16:creationId xmlns:a16="http://schemas.microsoft.com/office/drawing/2014/main" id="{E599121F-F336-2163-C3C7-FFFCA10F15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22745" y="1574633"/>
                  <a:ext cx="6134523" cy="2267525"/>
                </a:xfrm>
                <a:prstGeom prst="rect">
                  <a:avLst/>
                </a:prstGeom>
              </p:spPr>
            </p:pic>
            <p:pic>
              <p:nvPicPr>
                <p:cNvPr id="10" name="그림 9">
                  <a:extLst>
                    <a:ext uri="{FF2B5EF4-FFF2-40B4-BE49-F238E27FC236}">
                      <a16:creationId xmlns:a16="http://schemas.microsoft.com/office/drawing/2014/main" id="{0948C3FE-D0A0-3BDF-65C1-7545AA922E1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22745" y="4435874"/>
                  <a:ext cx="6134523" cy="1825538"/>
                </a:xfrm>
                <a:prstGeom prst="rect">
                  <a:avLst/>
                </a:prstGeom>
              </p:spPr>
            </p:pic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1" name="TextBox 10">
                      <a:extLst>
                        <a:ext uri="{FF2B5EF4-FFF2-40B4-BE49-F238E27FC236}">
                          <a16:creationId xmlns:a16="http://schemas.microsoft.com/office/drawing/2014/main" id="{7D2FC72B-41A8-3C78-54A2-ABB71EC84DF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22745" y="3882354"/>
                      <a:ext cx="6134523" cy="3267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altLang="ko-KR" sz="1200" b="1" dirty="0"/>
                        <a:t>[Vibration normal dataset : </a:t>
                      </a:r>
                      <a14:m>
                        <m:oMath xmlns:m="http://schemas.openxmlformats.org/officeDocument/2006/math">
                          <m:r>
                            <a:rPr lang="en-US" altLang="ko-KR" sz="1200" b="1" i="1" smtClean="0">
                              <a:latin typeface="Cambria Math" panose="02040503050406030204" pitchFamily="18" charset="0"/>
                            </a:rPr>
                            <m:t>𝟏𝟕𝟕𝟒</m:t>
                          </m:r>
                          <m:r>
                            <a:rPr lang="en-US" altLang="ko-KR" sz="1200" b="1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altLang="ko-KR" sz="1200" b="1" i="1" smtClean="0">
                              <a:latin typeface="Cambria Math" panose="02040503050406030204" pitchFamily="18" charset="0"/>
                            </a:rPr>
                            <m:t>𝟓𝟏𝟐</m:t>
                          </m:r>
                        </m:oMath>
                      </a14:m>
                      <a:r>
                        <a:rPr lang="en-US" altLang="ko-KR" sz="1200" b="1" dirty="0"/>
                        <a:t>]</a:t>
                      </a:r>
                      <a:endParaRPr lang="ko-KR" altLang="en-US" sz="1200" b="1" dirty="0"/>
                    </a:p>
                  </p:txBody>
                </p:sp>
              </mc:Choice>
              <mc:Fallback xmlns="">
                <p:sp>
                  <p:nvSpPr>
                    <p:cNvPr id="11" name="TextBox 10">
                      <a:extLst>
                        <a:ext uri="{FF2B5EF4-FFF2-40B4-BE49-F238E27FC236}">
                          <a16:creationId xmlns:a16="http://schemas.microsoft.com/office/drawing/2014/main" id="{7D2FC72B-41A8-3C78-54A2-ABB71EC84DFE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422745" y="3882354"/>
                      <a:ext cx="6134523" cy="326794"/>
                    </a:xfrm>
                    <a:prstGeom prst="rect">
                      <a:avLst/>
                    </a:prstGeom>
                    <a:blipFill>
                      <a:blip r:embed="rId6"/>
                      <a:stretch>
                        <a:fillRect t="-2174" b="-13043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ko-KR" alt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2" name="TextBox 11">
                      <a:extLst>
                        <a:ext uri="{FF2B5EF4-FFF2-40B4-BE49-F238E27FC236}">
                          <a16:creationId xmlns:a16="http://schemas.microsoft.com/office/drawing/2014/main" id="{1DB31511-7B4C-24A8-ABF7-C5770738CFC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22745" y="6387188"/>
                      <a:ext cx="6134524" cy="3267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altLang="ko-KR" sz="1200" b="1" dirty="0"/>
                        <a:t>[Vibration abnormal dataset : </a:t>
                      </a:r>
                      <a14:m>
                        <m:oMath xmlns:m="http://schemas.openxmlformats.org/officeDocument/2006/math">
                          <m:r>
                            <a:rPr lang="en-US" altLang="ko-KR" sz="1200" b="1" i="1" smtClean="0">
                              <a:latin typeface="Cambria Math" panose="02040503050406030204" pitchFamily="18" charset="0"/>
                            </a:rPr>
                            <m:t>𝟏𝟔</m:t>
                          </m:r>
                          <m:r>
                            <a:rPr lang="en-US" altLang="ko-KR" sz="1200" b="1" i="1" smtClean="0"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altLang="ko-KR" sz="1200" b="1" i="1" smtClean="0">
                              <a:latin typeface="Cambria Math" panose="02040503050406030204" pitchFamily="18" charset="0"/>
                            </a:rPr>
                            <m:t>𝟓𝟏𝟐</m:t>
                          </m:r>
                        </m:oMath>
                      </a14:m>
                      <a:r>
                        <a:rPr lang="en-US" altLang="ko-KR" sz="1200" b="1" dirty="0"/>
                        <a:t>]</a:t>
                      </a:r>
                      <a:endParaRPr lang="ko-KR" altLang="en-US" sz="1200" b="1" dirty="0"/>
                    </a:p>
                  </p:txBody>
                </p:sp>
              </mc:Choice>
              <mc:Fallback xmlns="">
                <p:sp>
                  <p:nvSpPr>
                    <p:cNvPr id="12" name="TextBox 11">
                      <a:extLst>
                        <a:ext uri="{FF2B5EF4-FFF2-40B4-BE49-F238E27FC236}">
                          <a16:creationId xmlns:a16="http://schemas.microsoft.com/office/drawing/2014/main" id="{1DB31511-7B4C-24A8-ABF7-C5770738CFCB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422745" y="6387188"/>
                      <a:ext cx="6134524" cy="326794"/>
                    </a:xfrm>
                    <a:prstGeom prst="rect">
                      <a:avLst/>
                    </a:prstGeom>
                    <a:blipFill>
                      <a:blip r:embed="rId7"/>
                      <a:stretch>
                        <a:fillRect t="-4348" b="-13043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ko-KR" altLang="en-US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sp>
            <p:nvSpPr>
              <p:cNvPr id="13" name="직사각형 12">
                <a:extLst>
                  <a:ext uri="{FF2B5EF4-FFF2-40B4-BE49-F238E27FC236}">
                    <a16:creationId xmlns:a16="http://schemas.microsoft.com/office/drawing/2014/main" id="{901070A5-5AC4-DC53-6460-8047A9B11366}"/>
                  </a:ext>
                </a:extLst>
              </p:cNvPr>
              <p:cNvSpPr/>
              <p:nvPr/>
            </p:nvSpPr>
            <p:spPr>
              <a:xfrm>
                <a:off x="1080023" y="2147977"/>
                <a:ext cx="5477244" cy="1694181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01C9FD64-2921-A6AC-D401-7CDC07D3BE32}"/>
                </a:ext>
              </a:extLst>
            </p:cNvPr>
            <p:cNvSpPr/>
            <p:nvPr/>
          </p:nvSpPr>
          <p:spPr>
            <a:xfrm>
              <a:off x="883793" y="4486150"/>
              <a:ext cx="5016666" cy="1111693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7754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0747B59-2D85-F662-4169-185A3496E9FF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ata processing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20778983-E9CD-E47E-C509-CE74A3A36C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2898425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Preprocessing</a:t>
            </a:r>
          </a:p>
        </p:txBody>
      </p:sp>
      <p:sp>
        <p:nvSpPr>
          <p:cNvPr id="23" name="화살표: 갈매기형 수장 22">
            <a:extLst>
              <a:ext uri="{FF2B5EF4-FFF2-40B4-BE49-F238E27FC236}">
                <a16:creationId xmlns:a16="http://schemas.microsoft.com/office/drawing/2014/main" id="{BF2ABEB3-13F3-D8E1-09D9-BAAEAC49C880}"/>
              </a:ext>
            </a:extLst>
          </p:cNvPr>
          <p:cNvSpPr/>
          <p:nvPr/>
        </p:nvSpPr>
        <p:spPr>
          <a:xfrm>
            <a:off x="4530910" y="3429000"/>
            <a:ext cx="891714" cy="1001485"/>
          </a:xfrm>
          <a:prstGeom prst="chevr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C2DC2CE1-E166-DEEC-9FA7-6224A497DB84}"/>
              </a:ext>
            </a:extLst>
          </p:cNvPr>
          <p:cNvGrpSpPr/>
          <p:nvPr/>
        </p:nvGrpSpPr>
        <p:grpSpPr>
          <a:xfrm>
            <a:off x="767751" y="1730235"/>
            <a:ext cx="2786332" cy="4532541"/>
            <a:chOff x="767751" y="1730235"/>
            <a:chExt cx="2786332" cy="4532541"/>
          </a:xfrm>
        </p:grpSpPr>
        <p:grpSp>
          <p:nvGrpSpPr>
            <p:cNvPr id="26" name="그룹 25">
              <a:extLst>
                <a:ext uri="{FF2B5EF4-FFF2-40B4-BE49-F238E27FC236}">
                  <a16:creationId xmlns:a16="http://schemas.microsoft.com/office/drawing/2014/main" id="{F3489BAC-F951-56FE-E7BA-F9B0B1FC1C35}"/>
                </a:ext>
              </a:extLst>
            </p:cNvPr>
            <p:cNvGrpSpPr/>
            <p:nvPr/>
          </p:nvGrpSpPr>
          <p:grpSpPr>
            <a:xfrm>
              <a:off x="767751" y="2173856"/>
              <a:ext cx="2786332" cy="4088920"/>
              <a:chOff x="767751" y="1906438"/>
              <a:chExt cx="2786332" cy="4088920"/>
            </a:xfrm>
          </p:grpSpPr>
          <p:grpSp>
            <p:nvGrpSpPr>
              <p:cNvPr id="22" name="그룹 21">
                <a:extLst>
                  <a:ext uri="{FF2B5EF4-FFF2-40B4-BE49-F238E27FC236}">
                    <a16:creationId xmlns:a16="http://schemas.microsoft.com/office/drawing/2014/main" id="{F309D0D8-62AC-7052-0C55-4BDDE52A8642}"/>
                  </a:ext>
                </a:extLst>
              </p:cNvPr>
              <p:cNvGrpSpPr/>
              <p:nvPr/>
            </p:nvGrpSpPr>
            <p:grpSpPr>
              <a:xfrm>
                <a:off x="1197646" y="2613770"/>
                <a:ext cx="1926542" cy="2763137"/>
                <a:chOff x="1587285" y="1777042"/>
                <a:chExt cx="1926542" cy="2763137"/>
              </a:xfrm>
            </p:grpSpPr>
            <p:sp>
              <p:nvSpPr>
                <p:cNvPr id="7" name="사각형: 둥근 모서리 6">
                  <a:extLst>
                    <a:ext uri="{FF2B5EF4-FFF2-40B4-BE49-F238E27FC236}">
                      <a16:creationId xmlns:a16="http://schemas.microsoft.com/office/drawing/2014/main" id="{E9F2E1EA-7DF2-3A11-4F89-17F5126FB8ED}"/>
                    </a:ext>
                  </a:extLst>
                </p:cNvPr>
                <p:cNvSpPr/>
                <p:nvPr/>
              </p:nvSpPr>
              <p:spPr>
                <a:xfrm>
                  <a:off x="1587285" y="1777042"/>
                  <a:ext cx="1926542" cy="655608"/>
                </a:xfrm>
                <a:prstGeom prst="roundRect">
                  <a:avLst/>
                </a:prstGeom>
                <a:noFill/>
                <a:ln w="19050">
                  <a:solidFill>
                    <a:schemeClr val="bg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ko-KR" sz="1500" dirty="0">
                      <a:solidFill>
                        <a:schemeClr val="tx1"/>
                      </a:solidFill>
                    </a:rPr>
                    <a:t>Vibration normal</a:t>
                  </a:r>
                  <a:endParaRPr lang="ko-KR" altLang="en-US" sz="15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" name="사각형: 둥근 모서리 7">
                  <a:extLst>
                    <a:ext uri="{FF2B5EF4-FFF2-40B4-BE49-F238E27FC236}">
                      <a16:creationId xmlns:a16="http://schemas.microsoft.com/office/drawing/2014/main" id="{AB32A40F-DA80-1B23-1CC1-C9D63B153DDC}"/>
                    </a:ext>
                  </a:extLst>
                </p:cNvPr>
                <p:cNvSpPr/>
                <p:nvPr/>
              </p:nvSpPr>
              <p:spPr>
                <a:xfrm>
                  <a:off x="1587285" y="3420374"/>
                  <a:ext cx="1926542" cy="655608"/>
                </a:xfrm>
                <a:prstGeom prst="roundRect">
                  <a:avLst/>
                </a:prstGeom>
                <a:noFill/>
                <a:ln w="19050">
                  <a:solidFill>
                    <a:schemeClr val="bg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ko-KR" sz="1500" dirty="0">
                      <a:solidFill>
                        <a:schemeClr val="tx1"/>
                      </a:solidFill>
                    </a:rPr>
                    <a:t>Vibration abnormal</a:t>
                  </a:r>
                  <a:endParaRPr lang="ko-KR" altLang="en-US" sz="15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4F0570FB-E353-B936-FF44-8B17F3ADB55B}"/>
                    </a:ext>
                  </a:extLst>
                </p:cNvPr>
                <p:cNvSpPr txBox="1"/>
                <p:nvPr/>
              </p:nvSpPr>
              <p:spPr>
                <a:xfrm>
                  <a:off x="1587285" y="2579298"/>
                  <a:ext cx="1926542" cy="3231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ko-KR" sz="1500" b="1" dirty="0"/>
                    <a:t>1774 x 512 size</a:t>
                  </a:r>
                  <a:endParaRPr lang="ko-KR" altLang="en-US" sz="1500" b="1" dirty="0"/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1968B97B-AA49-8EC9-2DD2-37BC3770B706}"/>
                    </a:ext>
                  </a:extLst>
                </p:cNvPr>
                <p:cNvSpPr txBox="1"/>
                <p:nvPr/>
              </p:nvSpPr>
              <p:spPr>
                <a:xfrm>
                  <a:off x="1587285" y="4217014"/>
                  <a:ext cx="1926542" cy="3231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altLang="ko-KR" sz="1500" b="1" dirty="0"/>
                    <a:t>16 x 512 size</a:t>
                  </a:r>
                  <a:endParaRPr lang="ko-KR" altLang="en-US" sz="1500" b="1" dirty="0"/>
                </a:p>
              </p:txBody>
            </p:sp>
          </p:grp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9F678B11-5E3A-B2A5-007C-A102387DED66}"/>
                  </a:ext>
                </a:extLst>
              </p:cNvPr>
              <p:cNvSpPr/>
              <p:nvPr/>
            </p:nvSpPr>
            <p:spPr>
              <a:xfrm>
                <a:off x="767751" y="1906438"/>
                <a:ext cx="2786332" cy="4088920"/>
              </a:xfrm>
              <a:prstGeom prst="rect">
                <a:avLst/>
              </a:prstGeom>
              <a:noFill/>
              <a:ln w="19050">
                <a:solidFill>
                  <a:schemeClr val="bg2">
                    <a:lumMod val="75000"/>
                  </a:schemeClr>
                </a:solidFill>
                <a:prstDash val="dash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4236E6-7464-2494-0D3D-FEBB4506ED50}"/>
                </a:ext>
              </a:extLst>
            </p:cNvPr>
            <p:cNvSpPr txBox="1"/>
            <p:nvPr/>
          </p:nvSpPr>
          <p:spPr>
            <a:xfrm>
              <a:off x="767751" y="1730235"/>
              <a:ext cx="2786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/>
                <a:t>Raw data format</a:t>
              </a:r>
              <a:endParaRPr lang="ko-KR" altLang="en-US" dirty="0"/>
            </a:p>
          </p:txBody>
        </p:sp>
      </p:grpSp>
      <p:grpSp>
        <p:nvGrpSpPr>
          <p:cNvPr id="34" name="그룹 33">
            <a:extLst>
              <a:ext uri="{FF2B5EF4-FFF2-40B4-BE49-F238E27FC236}">
                <a16:creationId xmlns:a16="http://schemas.microsoft.com/office/drawing/2014/main" id="{F5114043-101F-3BB6-9520-D301460F36EC}"/>
              </a:ext>
            </a:extLst>
          </p:cNvPr>
          <p:cNvGrpSpPr/>
          <p:nvPr/>
        </p:nvGrpSpPr>
        <p:grpSpPr>
          <a:xfrm>
            <a:off x="5785470" y="1058863"/>
            <a:ext cx="4572363" cy="5249161"/>
            <a:chOff x="5518052" y="1056690"/>
            <a:chExt cx="4572363" cy="5249161"/>
          </a:xfrm>
        </p:grpSpPr>
        <p:pic>
          <p:nvPicPr>
            <p:cNvPr id="31" name="그림 30">
              <a:extLst>
                <a:ext uri="{FF2B5EF4-FFF2-40B4-BE49-F238E27FC236}">
                  <a16:creationId xmlns:a16="http://schemas.microsoft.com/office/drawing/2014/main" id="{890BABC4-8C3E-AB36-57F5-ADF22F5C63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18052" y="1056690"/>
              <a:ext cx="4540348" cy="2626754"/>
            </a:xfrm>
            <a:prstGeom prst="rect">
              <a:avLst/>
            </a:prstGeom>
          </p:spPr>
        </p:pic>
        <p:pic>
          <p:nvPicPr>
            <p:cNvPr id="33" name="그림 32">
              <a:extLst>
                <a:ext uri="{FF2B5EF4-FFF2-40B4-BE49-F238E27FC236}">
                  <a16:creationId xmlns:a16="http://schemas.microsoft.com/office/drawing/2014/main" id="{1B1503EE-C2BC-A749-70C1-C4AEB9C57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18052" y="3679097"/>
              <a:ext cx="4572363" cy="2626754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D0AD15F-C223-27F4-0163-9F47A34BED82}"/>
              </a:ext>
            </a:extLst>
          </p:cNvPr>
          <p:cNvSpPr txBox="1"/>
          <p:nvPr/>
        </p:nvSpPr>
        <p:spPr>
          <a:xfrm>
            <a:off x="3916929" y="4544747"/>
            <a:ext cx="19265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/>
              <a:t>Data</a:t>
            </a:r>
            <a:r>
              <a:rPr lang="ko-KR" altLang="en-US" sz="1500" b="1" dirty="0"/>
              <a:t> </a:t>
            </a:r>
            <a:r>
              <a:rPr lang="en-US" altLang="ko-KR" sz="1500" b="1" dirty="0"/>
              <a:t>split</a:t>
            </a:r>
            <a:endParaRPr lang="ko-KR" altLang="en-US" sz="1500" b="1" dirty="0"/>
          </a:p>
        </p:txBody>
      </p:sp>
    </p:spTree>
    <p:extLst>
      <p:ext uri="{BB962C8B-B14F-4D97-AF65-F5344CB8AC3E}">
        <p14:creationId xmlns:p14="http://schemas.microsoft.com/office/powerpoint/2010/main" val="13513082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81050B1-EC67-A43E-2D9A-312CCA2453C3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ata processing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024DCAD2-622D-1A1F-D335-B9E691D89B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2898425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ata standardization</a:t>
            </a:r>
          </a:p>
        </p:txBody>
      </p: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6D3069D1-AB37-DC17-2841-3103E70E6A4D}"/>
              </a:ext>
            </a:extLst>
          </p:cNvPr>
          <p:cNvGrpSpPr/>
          <p:nvPr/>
        </p:nvGrpSpPr>
        <p:grpSpPr>
          <a:xfrm>
            <a:off x="607781" y="1834222"/>
            <a:ext cx="10976438" cy="3936029"/>
            <a:chOff x="263781" y="1894606"/>
            <a:chExt cx="10976438" cy="3936029"/>
          </a:xfrm>
        </p:grpSpPr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04951B02-C9E5-FB50-A55E-6F6D297E6CE3}"/>
                </a:ext>
              </a:extLst>
            </p:cNvPr>
            <p:cNvGrpSpPr/>
            <p:nvPr/>
          </p:nvGrpSpPr>
          <p:grpSpPr>
            <a:xfrm>
              <a:off x="263781" y="1971457"/>
              <a:ext cx="4488693" cy="3742981"/>
              <a:chOff x="6673658" y="2326979"/>
              <a:chExt cx="4451350" cy="4176233"/>
            </a:xfrm>
          </p:grpSpPr>
          <p:grpSp>
            <p:nvGrpSpPr>
              <p:cNvPr id="6" name="그룹 5">
                <a:extLst>
                  <a:ext uri="{FF2B5EF4-FFF2-40B4-BE49-F238E27FC236}">
                    <a16:creationId xmlns:a16="http://schemas.microsoft.com/office/drawing/2014/main" id="{6447AE08-D673-BFBD-7117-7451E7B528F3}"/>
                  </a:ext>
                </a:extLst>
              </p:cNvPr>
              <p:cNvGrpSpPr/>
              <p:nvPr/>
            </p:nvGrpSpPr>
            <p:grpSpPr>
              <a:xfrm>
                <a:off x="6679218" y="2326979"/>
                <a:ext cx="4440230" cy="3899235"/>
                <a:chOff x="6679218" y="2258819"/>
                <a:chExt cx="4612199" cy="4269225"/>
              </a:xfrm>
            </p:grpSpPr>
            <p:pic>
              <p:nvPicPr>
                <p:cNvPr id="9" name="그림 8">
                  <a:extLst>
                    <a:ext uri="{FF2B5EF4-FFF2-40B4-BE49-F238E27FC236}">
                      <a16:creationId xmlns:a16="http://schemas.microsoft.com/office/drawing/2014/main" id="{670DB740-7016-B135-3DC2-875E0CB618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/>
                <a:srcRect b="3262"/>
                <a:stretch/>
              </p:blipFill>
              <p:spPr>
                <a:xfrm>
                  <a:off x="6679218" y="2258819"/>
                  <a:ext cx="4606423" cy="1900105"/>
                </a:xfrm>
                <a:prstGeom prst="rect">
                  <a:avLst/>
                </a:prstGeom>
              </p:spPr>
            </p:pic>
            <p:pic>
              <p:nvPicPr>
                <p:cNvPr id="10" name="그림 9">
                  <a:extLst>
                    <a:ext uri="{FF2B5EF4-FFF2-40B4-BE49-F238E27FC236}">
                      <a16:creationId xmlns:a16="http://schemas.microsoft.com/office/drawing/2014/main" id="{F6A17D9A-CCE8-C4EF-0574-334F734E72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679219" y="4563884"/>
                  <a:ext cx="4612198" cy="1964160"/>
                </a:xfrm>
                <a:prstGeom prst="rect">
                  <a:avLst/>
                </a:prstGeom>
              </p:spPr>
            </p:pic>
          </p:grp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9C9C5AA-71AB-08EC-5202-879FA76D1274}"/>
                  </a:ext>
                </a:extLst>
              </p:cNvPr>
              <p:cNvSpPr txBox="1"/>
              <p:nvPr/>
            </p:nvSpPr>
            <p:spPr>
              <a:xfrm>
                <a:off x="6673658" y="4062413"/>
                <a:ext cx="444022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/>
                  <a:t>[Vibration normal dataset]</a:t>
                </a:r>
                <a:endParaRPr lang="ko-KR" altLang="en-US" sz="1200" b="1" dirty="0"/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0904A4B-AE45-FB45-5E92-341382B56225}"/>
                  </a:ext>
                </a:extLst>
              </p:cNvPr>
              <p:cNvSpPr txBox="1"/>
              <p:nvPr/>
            </p:nvSpPr>
            <p:spPr>
              <a:xfrm>
                <a:off x="6673658" y="6226214"/>
                <a:ext cx="4451350" cy="276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/>
                  <a:t>[Vibration abnormal dataset]</a:t>
                </a:r>
                <a:endParaRPr lang="ko-KR" altLang="en-US" sz="1200" b="1" dirty="0"/>
              </a:p>
            </p:txBody>
          </p:sp>
        </p:grpSp>
        <p:sp>
          <p:nvSpPr>
            <p:cNvPr id="11" name="화살표: 갈매기형 수장 10">
              <a:extLst>
                <a:ext uri="{FF2B5EF4-FFF2-40B4-BE49-F238E27FC236}">
                  <a16:creationId xmlns:a16="http://schemas.microsoft.com/office/drawing/2014/main" id="{C8DBD7CB-60FB-C607-630C-CE20A005C041}"/>
                </a:ext>
              </a:extLst>
            </p:cNvPr>
            <p:cNvSpPr/>
            <p:nvPr/>
          </p:nvSpPr>
          <p:spPr>
            <a:xfrm>
              <a:off x="5188726" y="3150241"/>
              <a:ext cx="1078722" cy="1001485"/>
            </a:xfrm>
            <a:prstGeom prst="chevron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grpSp>
          <p:nvGrpSpPr>
            <p:cNvPr id="23" name="그룹 22">
              <a:extLst>
                <a:ext uri="{FF2B5EF4-FFF2-40B4-BE49-F238E27FC236}">
                  <a16:creationId xmlns:a16="http://schemas.microsoft.com/office/drawing/2014/main" id="{4974D533-CB37-1DF7-222B-7771761B800E}"/>
                </a:ext>
              </a:extLst>
            </p:cNvPr>
            <p:cNvGrpSpPr/>
            <p:nvPr/>
          </p:nvGrpSpPr>
          <p:grpSpPr>
            <a:xfrm>
              <a:off x="6564702" y="1894606"/>
              <a:ext cx="4675517" cy="3936029"/>
              <a:chOff x="6564702" y="1949588"/>
              <a:chExt cx="4675517" cy="3936029"/>
            </a:xfrm>
          </p:grpSpPr>
          <p:grpSp>
            <p:nvGrpSpPr>
              <p:cNvPr id="20" name="그룹 19">
                <a:extLst>
                  <a:ext uri="{FF2B5EF4-FFF2-40B4-BE49-F238E27FC236}">
                    <a16:creationId xmlns:a16="http://schemas.microsoft.com/office/drawing/2014/main" id="{A7678FBA-1E26-D352-D3A9-B64FCE827DE6}"/>
                  </a:ext>
                </a:extLst>
              </p:cNvPr>
              <p:cNvGrpSpPr/>
              <p:nvPr/>
            </p:nvGrpSpPr>
            <p:grpSpPr>
              <a:xfrm>
                <a:off x="6564702" y="1949588"/>
                <a:ext cx="4675517" cy="3589390"/>
                <a:chOff x="6564702" y="1949588"/>
                <a:chExt cx="4675517" cy="3943009"/>
              </a:xfrm>
            </p:grpSpPr>
            <p:pic>
              <p:nvPicPr>
                <p:cNvPr id="17" name="그림 16">
                  <a:extLst>
                    <a:ext uri="{FF2B5EF4-FFF2-40B4-BE49-F238E27FC236}">
                      <a16:creationId xmlns:a16="http://schemas.microsoft.com/office/drawing/2014/main" id="{E156CC09-1810-3CE2-23D7-3EA147E5C6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564702" y="1949588"/>
                  <a:ext cx="4675516" cy="1689339"/>
                </a:xfrm>
                <a:prstGeom prst="rect">
                  <a:avLst/>
                </a:prstGeom>
              </p:spPr>
            </p:pic>
            <p:pic>
              <p:nvPicPr>
                <p:cNvPr id="19" name="그림 18">
                  <a:extLst>
                    <a:ext uri="{FF2B5EF4-FFF2-40B4-BE49-F238E27FC236}">
                      <a16:creationId xmlns:a16="http://schemas.microsoft.com/office/drawing/2014/main" id="{B4974803-DE33-51EC-83B6-FE6835D22D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564703" y="3964374"/>
                  <a:ext cx="4675516" cy="1928223"/>
                </a:xfrm>
                <a:prstGeom prst="rect">
                  <a:avLst/>
                </a:prstGeom>
              </p:spPr>
            </p:pic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6791D50-23B6-B59E-1E44-77DA3C54474E}"/>
                  </a:ext>
                </a:extLst>
              </p:cNvPr>
              <p:cNvSpPr txBox="1"/>
              <p:nvPr/>
            </p:nvSpPr>
            <p:spPr>
              <a:xfrm>
                <a:off x="6564703" y="3465013"/>
                <a:ext cx="467551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/>
                  <a:t>[Standardized train dataset]</a:t>
                </a:r>
                <a:endParaRPr lang="ko-KR" altLang="en-US" sz="1200" b="1" dirty="0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51E84E85-9F23-4DF6-E86E-EA9BF4DC2396}"/>
                  </a:ext>
                </a:extLst>
              </p:cNvPr>
              <p:cNvSpPr txBox="1"/>
              <p:nvPr/>
            </p:nvSpPr>
            <p:spPr>
              <a:xfrm>
                <a:off x="6564702" y="5608618"/>
                <a:ext cx="467551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/>
                  <a:t>[Standardized dataset]</a:t>
                </a:r>
                <a:endParaRPr lang="ko-KR" altLang="en-US" sz="1200" b="1" dirty="0"/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3B6B449-F94C-D931-ACD3-24F5F14C2FD5}"/>
                  </a:ext>
                </a:extLst>
              </p:cNvPr>
              <p:cNvSpPr txBox="1"/>
              <p:nvPr/>
            </p:nvSpPr>
            <p:spPr>
              <a:xfrm>
                <a:off x="4982159" y="2482354"/>
                <a:ext cx="1926542" cy="4910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</m:e>
                        <m:sup>
                          <m: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altLang="ko-KR" sz="1500" b="1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  <m:t>𝝁</m:t>
                          </m:r>
                        </m:num>
                        <m:den>
                          <m:r>
                            <a:rPr lang="en-US" altLang="ko-KR" sz="1500" b="1" i="1" smtClean="0">
                              <a:latin typeface="Cambria Math" panose="02040503050406030204" pitchFamily="18" charset="0"/>
                            </a:rPr>
                            <m:t>𝝈</m:t>
                          </m:r>
                        </m:den>
                      </m:f>
                    </m:oMath>
                  </m:oMathPara>
                </a14:m>
                <a:endParaRPr lang="ko-KR" altLang="en-US" sz="1500" b="1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3B6B449-F94C-D931-ACD3-24F5F14C2F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82159" y="2482354"/>
                <a:ext cx="1926542" cy="4910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738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8E919BF-A2EF-CCB0-8A54-92F9634A2747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Training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98353D94-99D1-12F3-4F7D-331ED4740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4870708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Generative Adversarial Networks </a:t>
            </a:r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(GAN)</a:t>
            </a:r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E6855408-5352-0ACC-E666-C9AAC7EDA2B7}"/>
              </a:ext>
            </a:extLst>
          </p:cNvPr>
          <p:cNvGrpSpPr/>
          <p:nvPr/>
        </p:nvGrpSpPr>
        <p:grpSpPr>
          <a:xfrm>
            <a:off x="422745" y="1650134"/>
            <a:ext cx="10306774" cy="5120926"/>
            <a:chOff x="422745" y="1600902"/>
            <a:chExt cx="10306774" cy="5120926"/>
          </a:xfrm>
        </p:grpSpPr>
        <p:grpSp>
          <p:nvGrpSpPr>
            <p:cNvPr id="7" name="그룹 6">
              <a:extLst>
                <a:ext uri="{FF2B5EF4-FFF2-40B4-BE49-F238E27FC236}">
                  <a16:creationId xmlns:a16="http://schemas.microsoft.com/office/drawing/2014/main" id="{710570FE-5EBC-79CF-96EB-8657BCFDC6B0}"/>
                </a:ext>
              </a:extLst>
            </p:cNvPr>
            <p:cNvGrpSpPr/>
            <p:nvPr/>
          </p:nvGrpSpPr>
          <p:grpSpPr>
            <a:xfrm>
              <a:off x="422745" y="1650134"/>
              <a:ext cx="4426092" cy="2108134"/>
              <a:chOff x="422745" y="1762694"/>
              <a:chExt cx="6531728" cy="3705565"/>
            </a:xfrm>
          </p:grpSpPr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F39F53E2-D1CC-7B46-E51F-43BD9A081B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2745" y="1762694"/>
                <a:ext cx="6531728" cy="32505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B35569E-E984-A4FB-D258-4A6042D53A6A}"/>
                  </a:ext>
                </a:extLst>
              </p:cNvPr>
              <p:cNvSpPr txBox="1"/>
              <p:nvPr/>
            </p:nvSpPr>
            <p:spPr>
              <a:xfrm>
                <a:off x="422745" y="5191260"/>
                <a:ext cx="65317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200" b="1" dirty="0"/>
                  <a:t>[Structure of GAN model]</a:t>
                </a:r>
                <a:endParaRPr lang="ko-KR" altLang="en-US" sz="1200" b="1" dirty="0"/>
              </a:p>
            </p:txBody>
          </p:sp>
        </p:grpSp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8E0E4872-B383-2089-CBF0-3A9BDD01FA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50565"/>
            <a:stretch/>
          </p:blipFill>
          <p:spPr>
            <a:xfrm>
              <a:off x="422745" y="4076173"/>
              <a:ext cx="4426092" cy="2263386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6800762-BC48-4FCA-61BF-22D100C86DC7}"/>
                </a:ext>
              </a:extLst>
            </p:cNvPr>
            <p:cNvSpPr txBox="1"/>
            <p:nvPr/>
          </p:nvSpPr>
          <p:spPr>
            <a:xfrm>
              <a:off x="422745" y="6444829"/>
              <a:ext cx="44260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/>
                <a:t>[Structure of generator]</a:t>
              </a:r>
              <a:endParaRPr lang="ko-KR" altLang="en-US" sz="1200" b="1" dirty="0"/>
            </a:p>
          </p:txBody>
        </p:sp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6ED2AB1F-5606-F73B-64ED-AEDA05C20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34577" y="1600902"/>
              <a:ext cx="4994942" cy="1898506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50AD78-811E-F9B8-88A4-F488B73AFAEE}"/>
                </a:ext>
              </a:extLst>
            </p:cNvPr>
            <p:cNvSpPr txBox="1"/>
            <p:nvPr/>
          </p:nvSpPr>
          <p:spPr>
            <a:xfrm>
              <a:off x="5734577" y="3619768"/>
              <a:ext cx="499494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/>
                <a:t>[Structure of discriminator]</a:t>
              </a:r>
              <a:endParaRPr lang="ko-KR" altLang="en-US" sz="1200" b="1" dirty="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A1B79BA-48E1-E139-4ABC-843E13C7D1DE}"/>
              </a:ext>
            </a:extLst>
          </p:cNvPr>
          <p:cNvSpPr txBox="1"/>
          <p:nvPr/>
        </p:nvSpPr>
        <p:spPr>
          <a:xfrm>
            <a:off x="5667465" y="4125405"/>
            <a:ext cx="6034678" cy="2178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Considering the difference between convolutional autoencoder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Input noise factor to the generator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Reconstruct the original train signal with repetitive training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Generator: sequential structure (dense &amp; batch normalization layer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ko-KR" sz="1400" dirty="0"/>
              <a:t>Discriminator: flatten &amp; sigmoid binary classification</a:t>
            </a:r>
            <a:endParaRPr lang="ko-KR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77622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76F4124-001F-6548-60B3-FF1DA83C5977}"/>
              </a:ext>
            </a:extLst>
          </p:cNvPr>
          <p:cNvSpPr txBox="1"/>
          <p:nvPr/>
        </p:nvSpPr>
        <p:spPr>
          <a:xfrm>
            <a:off x="263781" y="205853"/>
            <a:ext cx="6003667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456704" latinLnBrk="0"/>
            <a:r>
              <a:rPr lang="ko-KR" altLang="en-US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▣ </a:t>
            </a:r>
            <a:r>
              <a:rPr lang="en-US" altLang="ko-KR" sz="2400" dirty="0">
                <a:solidFill>
                  <a:prstClr val="black"/>
                </a:solidFill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Model validation</a:t>
            </a:r>
            <a:endParaRPr lang="ko-KR" altLang="en-US" sz="2400" dirty="0">
              <a:solidFill>
                <a:prstClr val="black"/>
              </a:solidFill>
              <a:latin typeface="현대하모니 L" panose="02020603020101020101" pitchFamily="18" charset="-127"/>
              <a:ea typeface="현대하모니 L" panose="02020603020101020101" pitchFamily="18" charset="-127"/>
              <a:cs typeface="함초롬바탕" panose="02030604000101010101" pitchFamily="18" charset="-127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AC5FAB28-3ADB-B595-60D6-2C032ED38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745" y="942802"/>
            <a:ext cx="3243244" cy="432048"/>
          </a:xfrm>
          <a:prstGeom prst="roundRect">
            <a:avLst/>
          </a:prstGeom>
          <a:solidFill>
            <a:srgbClr val="015B9A"/>
          </a:solidFill>
          <a:ln w="3175" cap="flat" cmpd="sng" algn="ctr">
            <a:noFill/>
            <a:prstDash val="solid"/>
          </a:ln>
          <a:effectLst>
            <a:outerShdw blurRad="381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18000" rIns="36000" bIns="36000" anchor="ctr"/>
          <a:lstStyle/>
          <a:p>
            <a:pPr algn="ctr"/>
            <a:r>
              <a:rPr lang="en-US" altLang="ko-K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현대하모니 L" panose="02020603020101020101" pitchFamily="18" charset="-127"/>
                <a:ea typeface="현대하모니 L" panose="02020603020101020101" pitchFamily="18" charset="-127"/>
                <a:cs typeface="함초롬바탕" panose="02030604000101010101" pitchFamily="18" charset="-127"/>
              </a:rPr>
              <a:t>Detection performance</a:t>
            </a: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3389D127-B302-691A-2269-EC87795A0E98}"/>
              </a:ext>
            </a:extLst>
          </p:cNvPr>
          <p:cNvGrpSpPr/>
          <p:nvPr/>
        </p:nvGrpSpPr>
        <p:grpSpPr>
          <a:xfrm>
            <a:off x="422744" y="1477526"/>
            <a:ext cx="5926298" cy="2574365"/>
            <a:chOff x="422744" y="1531151"/>
            <a:chExt cx="7609550" cy="2455207"/>
          </a:xfrm>
        </p:grpSpPr>
        <p:pic>
          <p:nvPicPr>
            <p:cNvPr id="3" name="그림 2">
              <a:extLst>
                <a:ext uri="{FF2B5EF4-FFF2-40B4-BE49-F238E27FC236}">
                  <a16:creationId xmlns:a16="http://schemas.microsoft.com/office/drawing/2014/main" id="{99AC0630-E590-FF49-F1ED-44E3BEFE52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22745" y="1531151"/>
              <a:ext cx="7609549" cy="2111245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C68C6F2-CF48-F2E6-AB09-7FA8A323D455}"/>
                </a:ext>
              </a:extLst>
            </p:cNvPr>
            <p:cNvSpPr txBox="1"/>
            <p:nvPr/>
          </p:nvSpPr>
          <p:spPr>
            <a:xfrm>
              <a:off x="422744" y="3709359"/>
              <a:ext cx="76095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200" b="1" dirty="0"/>
                <a:t>[original and reconstructed signal : vibration train set]</a:t>
              </a:r>
              <a:endParaRPr lang="ko-KR" altLang="en-US" sz="1200" b="1" dirty="0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9305A8D4-9725-93C3-C4FB-0B6F9C4CB574}"/>
              </a:ext>
            </a:extLst>
          </p:cNvPr>
          <p:cNvSpPr txBox="1"/>
          <p:nvPr/>
        </p:nvSpPr>
        <p:spPr>
          <a:xfrm>
            <a:off x="6443981" y="1477526"/>
            <a:ext cx="5520857" cy="1086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 err="1"/>
              <a:t>vib_train_mae</a:t>
            </a:r>
            <a:r>
              <a:rPr lang="en-US" altLang="ko-KR" sz="1500" dirty="0"/>
              <a:t> = abs(</a:t>
            </a:r>
            <a:r>
              <a:rPr lang="en-US" altLang="ko-KR" sz="1500" dirty="0" err="1"/>
              <a:t>org_sig</a:t>
            </a:r>
            <a:r>
              <a:rPr lang="en-US" altLang="ko-KR" sz="1500" dirty="0"/>
              <a:t> – </a:t>
            </a:r>
            <a:r>
              <a:rPr lang="en-US" altLang="ko-KR" sz="1500" dirty="0" err="1"/>
              <a:t>reconstructerd_sig</a:t>
            </a:r>
            <a:r>
              <a:rPr lang="en-US" altLang="ko-KR" sz="1500" dirty="0"/>
              <a:t>).mean(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Threshold = mean(</a:t>
            </a:r>
            <a:r>
              <a:rPr lang="en-US" altLang="ko-KR" sz="1500" dirty="0" err="1"/>
              <a:t>vib_train_mae</a:t>
            </a:r>
            <a:r>
              <a:rPr lang="en-US" altLang="ko-KR" sz="1500" dirty="0"/>
              <a:t>) + std(</a:t>
            </a:r>
            <a:r>
              <a:rPr lang="en-US" altLang="ko-KR" sz="1500" dirty="0" err="1"/>
              <a:t>vib_train_mae</a:t>
            </a:r>
            <a:r>
              <a:rPr lang="en-US" altLang="ko-KR" sz="1500" dirty="0"/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500" dirty="0"/>
              <a:t>Abnormal vibration signal detection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32BCE970-1C35-3C23-9D47-F76F98CB13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27"/>
          <a:stretch/>
        </p:blipFill>
        <p:spPr>
          <a:xfrm>
            <a:off x="263780" y="4122103"/>
            <a:ext cx="6003667" cy="231638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093A802-359D-4073-7DD4-CA931A36919E}"/>
              </a:ext>
            </a:extLst>
          </p:cNvPr>
          <p:cNvSpPr txBox="1"/>
          <p:nvPr/>
        </p:nvSpPr>
        <p:spPr>
          <a:xfrm>
            <a:off x="263780" y="6438489"/>
            <a:ext cx="6085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/>
              <a:t>[original and reconstructed signal : vibration test set]</a:t>
            </a:r>
            <a:endParaRPr lang="ko-KR" altLang="en-US" sz="1200" b="1" dirty="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5B7F1EE-3766-AAE1-055F-E31DAE2F8252}"/>
              </a:ext>
            </a:extLst>
          </p:cNvPr>
          <p:cNvSpPr/>
          <p:nvPr/>
        </p:nvSpPr>
        <p:spPr>
          <a:xfrm>
            <a:off x="3265613" y="4183811"/>
            <a:ext cx="2686613" cy="1975449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8" name="그룹 17">
            <a:extLst>
              <a:ext uri="{FF2B5EF4-FFF2-40B4-BE49-F238E27FC236}">
                <a16:creationId xmlns:a16="http://schemas.microsoft.com/office/drawing/2014/main" id="{AD110A53-825D-3E8A-4739-5BDEFDA28051}"/>
              </a:ext>
            </a:extLst>
          </p:cNvPr>
          <p:cNvGrpSpPr/>
          <p:nvPr/>
        </p:nvGrpSpPr>
        <p:grpSpPr>
          <a:xfrm>
            <a:off x="6443980" y="4093836"/>
            <a:ext cx="5520857" cy="740203"/>
            <a:chOff x="6443980" y="4051891"/>
            <a:chExt cx="5520857" cy="740203"/>
          </a:xfrm>
        </p:grpSpPr>
        <p:sp>
          <p:nvSpPr>
            <p:cNvPr id="14" name="직사각형 13">
              <a:extLst>
                <a:ext uri="{FF2B5EF4-FFF2-40B4-BE49-F238E27FC236}">
                  <a16:creationId xmlns:a16="http://schemas.microsoft.com/office/drawing/2014/main" id="{5A093DDD-422C-6997-7DF6-541D78B7329D}"/>
                </a:ext>
              </a:extLst>
            </p:cNvPr>
            <p:cNvSpPr/>
            <p:nvPr/>
          </p:nvSpPr>
          <p:spPr>
            <a:xfrm>
              <a:off x="6815555" y="4122103"/>
              <a:ext cx="575146" cy="290444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F5C8C30-2E81-79CC-7DD1-6CB479F18DC9}"/>
                </a:ext>
              </a:extLst>
            </p:cNvPr>
            <p:cNvSpPr txBox="1"/>
            <p:nvPr/>
          </p:nvSpPr>
          <p:spPr>
            <a:xfrm>
              <a:off x="6443980" y="4051891"/>
              <a:ext cx="5520857" cy="740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sz="1500" dirty="0"/>
                <a:t>          : Vibration abnormal signal</a:t>
              </a:r>
            </a:p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ko-KR" sz="1500" dirty="0"/>
                <a:t>Have a positive effect in anomaly de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2207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</TotalTime>
  <Words>428</Words>
  <Application>Microsoft Office PowerPoint</Application>
  <PresentationFormat>와이드스크린</PresentationFormat>
  <Paragraphs>65</Paragraphs>
  <Slides>7</Slides>
  <Notes>2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14" baseType="lpstr">
      <vt:lpstr>맑은 고딕</vt:lpstr>
      <vt:lpstr>현대하모니 B</vt:lpstr>
      <vt:lpstr>현대하모니 L</vt:lpstr>
      <vt:lpstr>현대하모니 M</vt:lpstr>
      <vt:lpstr>Arial</vt:lpstr>
      <vt:lpstr>Cambria Math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Minung Han</dc:creator>
  <cp:lastModifiedBy>Minung Han</cp:lastModifiedBy>
  <cp:revision>83</cp:revision>
  <dcterms:created xsi:type="dcterms:W3CDTF">2023-11-25T15:05:58Z</dcterms:created>
  <dcterms:modified xsi:type="dcterms:W3CDTF">2023-11-26T10:36:29Z</dcterms:modified>
</cp:coreProperties>
</file>